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0" r:id="rId1"/>
  </p:sldMasterIdLst>
  <p:notesMasterIdLst>
    <p:notesMasterId r:id="rId12"/>
  </p:notesMasterIdLst>
  <p:sldIdLst>
    <p:sldId id="347" r:id="rId2"/>
    <p:sldId id="348" r:id="rId3"/>
    <p:sldId id="349" r:id="rId4"/>
    <p:sldId id="350" r:id="rId5"/>
    <p:sldId id="358" r:id="rId6"/>
    <p:sldId id="351" r:id="rId7"/>
    <p:sldId id="357" r:id="rId8"/>
    <p:sldId id="355" r:id="rId9"/>
    <p:sldId id="356" r:id="rId10"/>
    <p:sldId id="359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ECFF"/>
    <a:srgbClr val="3A8E26"/>
    <a:srgbClr val="459E22"/>
    <a:srgbClr val="52C021"/>
    <a:srgbClr val="5EDD2B"/>
    <a:srgbClr val="51CA20"/>
    <a:srgbClr val="3EB82E"/>
    <a:srgbClr val="57CD5D"/>
    <a:srgbClr val="39BD3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72" autoAdjust="0"/>
    <p:restoredTop sz="94660"/>
  </p:normalViewPr>
  <p:slideViewPr>
    <p:cSldViewPr snapToGrid="0">
      <p:cViewPr varScale="1">
        <p:scale>
          <a:sx n="82" d="100"/>
          <a:sy n="82" d="100"/>
        </p:scale>
        <p:origin x="720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1D64E99-0CB8-FA94-0E6C-76DEEFAE143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1FEC37-F4AF-B7DE-DBCA-216AAC9EBB9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4FF4A0F1-8F32-49F6-A8E5-D6775B83E601}" type="datetimeFigureOut">
              <a:rPr lang="en-IN"/>
              <a:pPr>
                <a:defRPr/>
              </a:pPr>
              <a:t>05-03-2026</a:t>
            </a:fld>
            <a:endParaRPr lang="en-IN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0C23AEA4-492C-FECB-4288-BFCDC5D82DC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IN" noProof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6CB5E656-DA06-F35A-0D28-F6149734924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N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0E94DFB-6773-91BB-D2CE-91B3579D7E0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E09E349-3698-0747-9783-EE9030E96F3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B440D043-AFFC-4768-89E0-84AE94CB2997}" type="slidenum">
              <a:rPr lang="en-IN"/>
              <a:pPr>
                <a:defRPr/>
              </a:pPr>
              <a:t>‹#›</a:t>
            </a:fld>
            <a:endParaRPr lang="en-I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C8B958-79CB-47F2-2C52-AC12EB4A755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F5D92C-3222-E226-0513-15DA9FE5B4E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E24625-2064-78D7-9F62-FCA521BBA4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92D6128-BF3C-4161-B179-D8E947F6EAF3}" type="datetime1">
              <a:rPr lang="en-IN" smtClean="0"/>
              <a:pPr>
                <a:defRPr/>
              </a:pPr>
              <a:t>05-03-2026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35819A-BF07-D679-5D0E-04C06E9822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52nd IPSCON 2023, JSS College of Pharmacy, Mysuru, JSSAHER, Karnataka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996833-C00C-1D62-4BA9-CE4B53314D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19BAA7A-34D7-49AA-B6BF-B6DF2E55ABED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98889053"/>
      </p:ext>
    </p:extLst>
  </p:cSld>
  <p:clrMapOvr>
    <a:masterClrMapping/>
  </p:clrMapOvr>
  <p:transition spd="slow">
    <p:split orient="vert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13D03F-CC8A-C4DD-555A-8B0D108A99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78FFD1B-7999-1F09-685C-422D081130A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81B1D5E-D3A1-7691-0535-34593AE712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B3F728A-F122-4925-B125-67126241DE98}" type="datetime1">
              <a:rPr lang="en-IN" smtClean="0"/>
              <a:pPr>
                <a:defRPr/>
              </a:pPr>
              <a:t>05-03-2026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4F25AB-52B5-2445-4C51-8CF421FB86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52nd IPSCON 2023, JSS College of Pharmacy, Mysuru, JSSAHER, Karnataka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CC070D-B318-8BAE-D076-356B105E1F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C78B7C8-76EB-41A9-A25B-327923D3E0BC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64510534"/>
      </p:ext>
    </p:extLst>
  </p:cSld>
  <p:clrMapOvr>
    <a:masterClrMapping/>
  </p:clrMapOvr>
  <p:transition spd="slow">
    <p:split orient="vert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008AEBA-DA20-32E6-177D-8E761D66BB9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8D589BC-8249-467D-E88B-416916D46C3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BA20980-BD07-7095-DE68-0825F63FAB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6B5BA87-AB27-40CA-96E5-4BF3A7BA2D6C}" type="datetime1">
              <a:rPr lang="en-IN" smtClean="0"/>
              <a:pPr>
                <a:defRPr/>
              </a:pPr>
              <a:t>05-03-2026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C451E2-6776-BFA0-DA0A-A2DBDC1B54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52nd IPSCON 2023, JSS College of Pharmacy, Mysuru, JSSAHER, Karnataka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DB79BB-3CBF-B393-5176-A876DE176C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864AE5-2D67-4A91-8ACC-B4C592AC2A91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3416122"/>
      </p:ext>
    </p:extLst>
  </p:cSld>
  <p:clrMapOvr>
    <a:masterClrMapping/>
  </p:clrMapOvr>
  <p:transition spd="slow">
    <p:split orient="vert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97F809-E023-A645-6D36-4D9D0C769E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1D4795-4E17-AFB0-B097-41DF76028A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DC1760-8352-E3D3-B132-EF8A79002C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2B42670-AC6F-4295-B6CD-C81D3CCF8709}" type="datetime1">
              <a:rPr lang="en-IN" smtClean="0"/>
              <a:pPr>
                <a:defRPr/>
              </a:pPr>
              <a:t>05-03-2026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EB583C-2039-6F9B-82AC-798C0DE495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52nd IPSCON 2023, JSS College of Pharmacy, Mysuru, JSSAHER, Karnataka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8A8FF7-3495-EB35-3FF6-A30EEB74AD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773418B-79DF-4FE4-9242-E099507D161E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51631520"/>
      </p:ext>
    </p:extLst>
  </p:cSld>
  <p:clrMapOvr>
    <a:masterClrMapping/>
  </p:clrMapOvr>
  <p:transition spd="slow">
    <p:split orient="vert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AB0989-0579-6587-B212-C2A0296252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43367D-C580-325D-F6A3-08E8B7A4800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0D01F47-6012-344F-A168-AECF4750DC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949B7B2-2BC1-496B-9F5F-02C29C235CAD}" type="datetime1">
              <a:rPr lang="en-IN" smtClean="0"/>
              <a:pPr>
                <a:defRPr/>
              </a:pPr>
              <a:t>05-03-2026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11C191-B7C9-3F3C-61E1-1C2816B3CA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52nd IPSCON 2023, JSS College of Pharmacy, Mysuru, JSSAHER, Karnataka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3C28DC-483C-ED40-2C57-25C5746487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602F83-2265-4713-B4AB-FFFAA5D80317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78724965"/>
      </p:ext>
    </p:extLst>
  </p:cSld>
  <p:clrMapOvr>
    <a:masterClrMapping/>
  </p:clrMapOvr>
  <p:transition spd="slow">
    <p:split orient="vert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1A3866-E713-60DB-81C4-FE68F08F65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559807-20A9-1D3C-D57E-314465F25B0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95890BD-1146-78C7-C343-1B00FEF7B6F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37A3DFC-FDE4-A522-2B4E-BBE423AA0E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EBC5F58-30E5-4550-94F2-19CD6CA147FD}" type="datetime1">
              <a:rPr lang="en-IN" smtClean="0"/>
              <a:pPr>
                <a:defRPr/>
              </a:pPr>
              <a:t>05-03-2026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479AFC-BF73-D079-BB73-ECE5B3B3B2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52nd IPSCON 2023, JSS College of Pharmacy, Mysuru, JSSAHER, Karnataka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2FB0E38-12BB-740B-E881-BF9585A78F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3F645A5-2A3F-47EB-9F85-89931BDB3012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2901361"/>
      </p:ext>
    </p:extLst>
  </p:cSld>
  <p:clrMapOvr>
    <a:masterClrMapping/>
  </p:clrMapOvr>
  <p:transition spd="slow">
    <p:split orient="vert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C49D5A-5045-5EBB-0A8E-356579EBFA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51971D-F352-A4A5-F6E7-43381F157E7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DCF51F3-0F10-090E-D668-7772AD5A6B7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73F4DDB-20A8-1E07-B845-072C96DE76B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B280731-35F2-EDD4-67D3-65FC1F5E687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88A340D-15D5-F24B-6625-9BEB0DE28C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F506C-A162-49F2-8736-8462A9DC736D}" type="datetime1">
              <a:rPr lang="en-IN" smtClean="0"/>
              <a:pPr>
                <a:defRPr/>
              </a:pPr>
              <a:t>05-03-2026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2668360-B939-6355-373C-58C122B27E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52nd IPSCON 2023, JSS College of Pharmacy, Mysuru, JSSAHER, Karnataka 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E28D57E-3790-C16E-0CA9-BB62898F1D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67CE8CE-87B8-4811-8404-C9FE0F8DBABC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86592487"/>
      </p:ext>
    </p:extLst>
  </p:cSld>
  <p:clrMapOvr>
    <a:masterClrMapping/>
  </p:clrMapOvr>
  <p:transition spd="slow">
    <p:split orient="vert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8E0294-8D57-4E01-EB9A-24BE5945AB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513162D-CFF9-5F6C-8F3D-B21D92F2FE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9015A94-9F37-4898-BE9E-C75C2D1BBFF0}" type="datetime1">
              <a:rPr lang="en-IN" smtClean="0"/>
              <a:pPr>
                <a:defRPr/>
              </a:pPr>
              <a:t>05-03-2026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E5BF7C-D02D-42DF-A79E-2A53CB338B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52nd IPSCON 2023, JSS College of Pharmacy, Mysuru, JSSAHER, Karnataka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BC5204-0A0C-AD4B-3203-AA6F0E9FD8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34E37A8-D764-4DA0-902C-62196FD2EEA8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80695282"/>
      </p:ext>
    </p:extLst>
  </p:cSld>
  <p:clrMapOvr>
    <a:masterClrMapping/>
  </p:clrMapOvr>
  <p:transition spd="slow">
    <p:split orient="vert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80C22D0-6AA8-4966-E71E-07F41F6FB5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37A766F-9B09-4236-99B0-732FAAB61282}" type="datetime1">
              <a:rPr lang="en-IN" smtClean="0"/>
              <a:pPr>
                <a:defRPr/>
              </a:pPr>
              <a:t>05-03-2026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48C6970-C7B7-5B79-CEC6-0E80C901D5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52nd IPSCON 2023, JSS College of Pharmacy, Mysuru, JSSAHER, Karnataka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B619D5-2D6D-DC15-5423-AA5D895505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ADDDB14-DCA9-49DE-8397-268B49FC5500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94530522"/>
      </p:ext>
    </p:extLst>
  </p:cSld>
  <p:clrMapOvr>
    <a:masterClrMapping/>
  </p:clrMapOvr>
  <p:transition spd="slow">
    <p:split orient="vert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B8E72A-1656-009F-8BCC-F1FBC7D8F5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3907A3F-FDCD-05FA-4828-B6D18184AD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FB422F-2830-95CE-AA14-75AF30C3B4E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171D144-3AFB-0C0D-614D-97F95DA8AB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BFA393B-8080-47A2-AF5E-F805E531618F}" type="datetime1">
              <a:rPr lang="en-IN" smtClean="0"/>
              <a:pPr>
                <a:defRPr/>
              </a:pPr>
              <a:t>05-03-2026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02C8C6F-6752-01E7-4A50-D9881D1ED9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52nd IPSCON 2023, JSS College of Pharmacy, Mysuru, JSSAHER, Karnataka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599F425-F0A8-5062-F01E-454101E5EE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0650EE6-5743-49B6-B09E-0D92D3CFE905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55052393"/>
      </p:ext>
    </p:extLst>
  </p:cSld>
  <p:clrMapOvr>
    <a:masterClrMapping/>
  </p:clrMapOvr>
  <p:transition spd="slow">
    <p:split orient="vert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B8DE20-886D-76E5-3D0F-7FDFAB14D0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ACE6D49-B4A6-F8B5-2946-7BEC6A84494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32AEDD-A23D-3B6B-E8E6-5903CE015FA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5610750-8E29-27EC-D232-87DA2E3192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E80338A-AA4A-45A4-A75B-AE30FF56E604}" type="datetime1">
              <a:rPr lang="en-IN" smtClean="0"/>
              <a:pPr>
                <a:defRPr/>
              </a:pPr>
              <a:t>05-03-2026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FDB84C4-2D9D-3615-8F62-53F577AAEF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52nd IPSCON 2023, JSS College of Pharmacy, Mysuru, JSSAHER, Karnataka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99F5F3B-8D10-0349-CE9C-0EC16A6371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8726685-F66C-4EDD-A05D-2DA347C5A6B2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45014405"/>
      </p:ext>
    </p:extLst>
  </p:cSld>
  <p:clrMapOvr>
    <a:masterClrMapping/>
  </p:clrMapOvr>
  <p:transition spd="slow">
    <p:split orient="vert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B822E26-6E98-1CCE-6D54-7654236337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089E1C-8D15-369E-2CF4-B2B72F6A9A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1811BC-FCB2-BE2E-9BDF-77B622F9F6D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pPr>
              <a:defRPr/>
            </a:pPr>
            <a:fld id="{F9AB4646-7734-4CC0-A01C-3412A50C7AB7}" type="datetime1">
              <a:rPr lang="en-IN" smtClean="0"/>
              <a:pPr>
                <a:defRPr/>
              </a:pPr>
              <a:t>05-03-2026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595BF4-16F2-32FC-72E4-5A3A042E0A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pPr>
              <a:defRPr/>
            </a:pPr>
            <a:r>
              <a:rPr lang="en-IN"/>
              <a:t>52nd IPSCON 2023, JSS College of Pharmacy, Mysuru, JSSAHER, Karnataka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5983478-28BD-ADB0-5538-18A6B4B9D6E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pPr>
              <a:defRPr/>
            </a:pPr>
            <a:fld id="{53DD8BFC-7558-4306-91A7-57A2A5AE37E2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176961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</p:sldLayoutIdLst>
  <p:transition spd="slow">
    <p:split orient="vert"/>
  </p:transition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ct 11" hidden="1">
            <a:extLst>
              <a:ext uri="{FF2B5EF4-FFF2-40B4-BE49-F238E27FC236}">
                <a16:creationId xmlns:a16="http://schemas.microsoft.com/office/drawing/2014/main" id="{63060BF0-0B3F-D798-764B-CE02F5FB36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074" name="Object 11" hidden="1">
                        <a:extLst>
                          <a:ext uri="{FF2B5EF4-FFF2-40B4-BE49-F238E27FC236}">
                            <a16:creationId xmlns:a16="http://schemas.microsoft.com/office/drawing/2014/main" id="{63060BF0-0B3F-D798-764B-CE02F5FB364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72E715B4-490A-3CE0-20BA-E6A162C63FED}"/>
              </a:ext>
            </a:extLst>
          </p:cNvPr>
          <p:cNvSpPr/>
          <p:nvPr/>
        </p:nvSpPr>
        <p:spPr>
          <a:xfrm>
            <a:off x="0" y="7938"/>
            <a:ext cx="12192000" cy="192087"/>
          </a:xfrm>
          <a:prstGeom prst="rect">
            <a:avLst/>
          </a:prstGeom>
          <a:solidFill>
            <a:srgbClr val="024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28AC977-1871-B179-C4B0-C331FE0A6CB8}"/>
              </a:ext>
            </a:extLst>
          </p:cNvPr>
          <p:cNvSpPr/>
          <p:nvPr/>
        </p:nvSpPr>
        <p:spPr>
          <a:xfrm>
            <a:off x="0" y="-4763"/>
            <a:ext cx="12192000" cy="152401"/>
          </a:xfrm>
          <a:prstGeom prst="rect">
            <a:avLst/>
          </a:prstGeom>
          <a:solidFill>
            <a:srgbClr val="E35F1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grpSp>
        <p:nvGrpSpPr>
          <p:cNvPr id="3077" name="Group 10">
            <a:extLst>
              <a:ext uri="{FF2B5EF4-FFF2-40B4-BE49-F238E27FC236}">
                <a16:creationId xmlns:a16="http://schemas.microsoft.com/office/drawing/2014/main" id="{535764D3-5B7D-6E30-1C9B-AC71325CFE36}"/>
              </a:ext>
            </a:extLst>
          </p:cNvPr>
          <p:cNvGrpSpPr>
            <a:grpSpLocks/>
          </p:cNvGrpSpPr>
          <p:nvPr/>
        </p:nvGrpSpPr>
        <p:grpSpPr bwMode="auto">
          <a:xfrm>
            <a:off x="0" y="6783388"/>
            <a:ext cx="12192000" cy="92075"/>
            <a:chOff x="1" y="6096362"/>
            <a:chExt cx="9224209" cy="191046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AA3DF4C-BEFA-58F6-9E4A-AB1F71ED344B}"/>
                </a:ext>
              </a:extLst>
            </p:cNvPr>
            <p:cNvSpPr/>
            <p:nvPr/>
          </p:nvSpPr>
          <p:spPr>
            <a:xfrm>
              <a:off x="3417042" y="6096362"/>
              <a:ext cx="2902983" cy="191046"/>
            </a:xfrm>
            <a:prstGeom prst="rect">
              <a:avLst/>
            </a:prstGeom>
            <a:solidFill>
              <a:srgbClr val="E35F1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563873B-5A52-80BB-A587-FA8D9FC6AC07}"/>
                </a:ext>
              </a:extLst>
            </p:cNvPr>
            <p:cNvSpPr/>
            <p:nvPr/>
          </p:nvSpPr>
          <p:spPr>
            <a:xfrm>
              <a:off x="6320025" y="6096362"/>
              <a:ext cx="2904185" cy="191046"/>
            </a:xfrm>
            <a:prstGeom prst="rect">
              <a:avLst/>
            </a:prstGeom>
            <a:solidFill>
              <a:srgbClr val="FC9B0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7F2438FB-B66E-3186-D046-FADA86FAB641}"/>
                </a:ext>
              </a:extLst>
            </p:cNvPr>
            <p:cNvSpPr/>
            <p:nvPr/>
          </p:nvSpPr>
          <p:spPr>
            <a:xfrm>
              <a:off x="1" y="6096362"/>
              <a:ext cx="3417041" cy="191046"/>
            </a:xfrm>
            <a:prstGeom prst="rect">
              <a:avLst/>
            </a:prstGeom>
            <a:solidFill>
              <a:srgbClr val="0244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D96A4778-BED9-FA7D-0E16-F1186C790A01}"/>
              </a:ext>
            </a:extLst>
          </p:cNvPr>
          <p:cNvSpPr/>
          <p:nvPr/>
        </p:nvSpPr>
        <p:spPr>
          <a:xfrm>
            <a:off x="0" y="231775"/>
            <a:ext cx="12192000" cy="73025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IN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pic>
        <p:nvPicPr>
          <p:cNvPr id="3079" name="Picture 20" descr="A picture containing drawing&#10;&#10;Description automatically generated">
            <a:extLst>
              <a:ext uri="{FF2B5EF4-FFF2-40B4-BE49-F238E27FC236}">
                <a16:creationId xmlns:a16="http://schemas.microsoft.com/office/drawing/2014/main" id="{E52BF20E-0B63-197B-1F26-4BBD4CB051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5700" y="382588"/>
            <a:ext cx="2032000" cy="955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AA32FC7C-B5AE-C5AE-C0E7-B71CC38DE304}"/>
              </a:ext>
            </a:extLst>
          </p:cNvPr>
          <p:cNvSpPr txBox="1"/>
          <p:nvPr/>
        </p:nvSpPr>
        <p:spPr>
          <a:xfrm>
            <a:off x="4720642" y="529083"/>
            <a:ext cx="2650542" cy="46166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accent6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ORAL_ID_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FC0825E4-DD69-8A75-6C26-2CF33FC04D6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1886" y="2289175"/>
            <a:ext cx="11363552" cy="58578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28575">
            <a:solidFill>
              <a:schemeClr val="accent5">
                <a:lumMod val="50000"/>
              </a:schemeClr>
            </a:solidFill>
          </a:ln>
        </p:spPr>
        <p:txBody>
          <a:bodyPr anchor="ctr"/>
          <a:lstStyle>
            <a:lvl1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>
              <a:lnSpc>
                <a:spcPct val="150000"/>
              </a:lnSpc>
              <a:spcAft>
                <a:spcPts val="800"/>
              </a:spcAft>
              <a:defRPr/>
            </a:pPr>
            <a:r>
              <a:rPr lang="en-IN" sz="2000" b="1" kern="18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itle</a:t>
            </a:r>
            <a:endParaRPr lang="en-IN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087" name="Subtitle 2">
            <a:extLst>
              <a:ext uri="{FF2B5EF4-FFF2-40B4-BE49-F238E27FC236}">
                <a16:creationId xmlns:a16="http://schemas.microsoft.com/office/drawing/2014/main" id="{B735B87B-C463-5028-23DC-460ED314A43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8388" y="3983038"/>
            <a:ext cx="10184330" cy="7080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buFont typeface="Arial" panose="020B0604020202020204" pitchFamily="34" charset="0"/>
              <a:buNone/>
            </a:pPr>
            <a:r>
              <a:rPr lang="en-IN" altLang="en-US" sz="1600" dirty="0">
                <a:latin typeface="Times New Roman" panose="02020603050405020304" pitchFamily="18" charset="0"/>
                <a:ea typeface="Yu Gothic" panose="020B0400000000000000" pitchFamily="34" charset="-128"/>
                <a:cs typeface="Times New Roman" panose="02020603050405020304" pitchFamily="18" charset="0"/>
              </a:rPr>
              <a:t>Affiliation</a:t>
            </a:r>
          </a:p>
          <a:p>
            <a:pPr algn="ctr" eaLnBrk="1" hangingPunct="1">
              <a:buFont typeface="Arial" panose="020B0604020202020204" pitchFamily="34" charset="0"/>
              <a:buNone/>
            </a:pPr>
            <a:r>
              <a:rPr lang="en-IN" altLang="en-US" sz="1600" dirty="0">
                <a:latin typeface="Times New Roman" panose="02020603050405020304" pitchFamily="18" charset="0"/>
                <a:ea typeface="Yu Gothic" panose="020B0400000000000000" pitchFamily="34" charset="-128"/>
                <a:cs typeface="Times New Roman" panose="02020603050405020304" pitchFamily="18" charset="0"/>
              </a:rPr>
              <a:t>Mail ID</a:t>
            </a:r>
          </a:p>
          <a:p>
            <a:pPr algn="ctr" eaLnBrk="1" hangingPunct="1">
              <a:buFont typeface="Arial" panose="020B0604020202020204" pitchFamily="34" charset="0"/>
              <a:buNone/>
            </a:pPr>
            <a:endParaRPr lang="en-IN" altLang="en-US" sz="1600" dirty="0">
              <a:latin typeface="Times New Roman" panose="02020603050405020304" pitchFamily="18" charset="0"/>
              <a:ea typeface="Yu Gothic" panose="020B0400000000000000" pitchFamily="34" charset="-128"/>
              <a:cs typeface="Times New Roman" panose="02020603050405020304" pitchFamily="18" charset="0"/>
            </a:endParaRP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A52C1C66-DB8F-BE7D-A7B9-261816246D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92859" y="6508750"/>
            <a:ext cx="7008391" cy="365125"/>
          </a:xfrm>
        </p:spPr>
        <p:txBody>
          <a:bodyPr/>
          <a:lstStyle/>
          <a:p>
            <a:pPr>
              <a:defRPr/>
            </a:pPr>
            <a:r>
              <a:rPr lang="en-IN" dirty="0"/>
              <a:t>JSS TDM 1.0 2026, JSS College of Pharmacy, &amp; JSS Medical </a:t>
            </a:r>
            <a:r>
              <a:rPr lang="en-US" dirty="0"/>
              <a:t>College</a:t>
            </a:r>
            <a:r>
              <a:rPr lang="en-IN" dirty="0"/>
              <a:t> Mysuru, JSSAHER, Karnataka 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D1C4D64A-A49E-1BBD-B8CE-278B879795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A12E43B-AAA0-4CDF-8AD1-C36E2C60A8B8}" type="slidenum">
              <a:rPr lang="en-IN" smtClean="0"/>
              <a:pPr>
                <a:defRPr/>
              </a:pPr>
              <a:t>1</a:t>
            </a:fld>
            <a:endParaRPr lang="en-IN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3829912-BD0C-A358-E833-C477358B186F}"/>
              </a:ext>
            </a:extLst>
          </p:cNvPr>
          <p:cNvSpPr txBox="1"/>
          <p:nvPr/>
        </p:nvSpPr>
        <p:spPr>
          <a:xfrm>
            <a:off x="1068388" y="3248999"/>
            <a:ext cx="1018433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IN" altLang="en-US" sz="1800" dirty="0">
                <a:latin typeface="Times New Roman" panose="02020603050405020304" pitchFamily="18" charset="0"/>
                <a:ea typeface="Yu Gothic" panose="020B0400000000000000" pitchFamily="34" charset="-128"/>
                <a:cs typeface="Times New Roman" panose="02020603050405020304" pitchFamily="18" charset="0"/>
              </a:rPr>
              <a:t>Authors</a:t>
            </a:r>
            <a:endParaRPr lang="en-IN" dirty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30C3D174-5E00-026A-6890-0062A3681600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2690" y="336550"/>
            <a:ext cx="1443912" cy="1465485"/>
          </a:xfrm>
          <a:prstGeom prst="rect">
            <a:avLst/>
          </a:prstGeom>
        </p:spPr>
      </p:pic>
    </p:spTree>
  </p:cSld>
  <p:clrMapOvr>
    <a:masterClrMapping/>
  </p:clrMapOvr>
  <p:transition spd="slow">
    <p:split orient="vert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AE4688-EC88-F5D5-D3E5-68D5038D64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Object 11" hidden="1">
            <a:extLst>
              <a:ext uri="{FF2B5EF4-FFF2-40B4-BE49-F238E27FC236}">
                <a16:creationId xmlns:a16="http://schemas.microsoft.com/office/drawing/2014/main" id="{B745F692-5918-BC6F-45D7-740B4B7713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12290" name="Object 11" hidden="1">
                        <a:extLst>
                          <a:ext uri="{FF2B5EF4-FFF2-40B4-BE49-F238E27FC236}">
                            <a16:creationId xmlns:a16="http://schemas.microsoft.com/office/drawing/2014/main" id="{B367A5A4-60A0-3C49-DA13-C09480447C6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67B52CA6-9CE0-4DB6-4BD8-402C073A3775}"/>
              </a:ext>
            </a:extLst>
          </p:cNvPr>
          <p:cNvSpPr/>
          <p:nvPr/>
        </p:nvSpPr>
        <p:spPr>
          <a:xfrm>
            <a:off x="0" y="7938"/>
            <a:ext cx="12192000" cy="192087"/>
          </a:xfrm>
          <a:prstGeom prst="rect">
            <a:avLst/>
          </a:prstGeom>
          <a:solidFill>
            <a:srgbClr val="024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5B2FF18-1DF4-C300-2786-F21721E477BE}"/>
              </a:ext>
            </a:extLst>
          </p:cNvPr>
          <p:cNvSpPr/>
          <p:nvPr/>
        </p:nvSpPr>
        <p:spPr>
          <a:xfrm>
            <a:off x="0" y="-4763"/>
            <a:ext cx="12192000" cy="152401"/>
          </a:xfrm>
          <a:prstGeom prst="rect">
            <a:avLst/>
          </a:prstGeom>
          <a:solidFill>
            <a:srgbClr val="E35F1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grpSp>
        <p:nvGrpSpPr>
          <p:cNvPr id="12293" name="Group 10">
            <a:extLst>
              <a:ext uri="{FF2B5EF4-FFF2-40B4-BE49-F238E27FC236}">
                <a16:creationId xmlns:a16="http://schemas.microsoft.com/office/drawing/2014/main" id="{4D8330E1-682E-D4C4-AB07-BBAC8E6E1222}"/>
              </a:ext>
            </a:extLst>
          </p:cNvPr>
          <p:cNvGrpSpPr>
            <a:grpSpLocks/>
          </p:cNvGrpSpPr>
          <p:nvPr/>
        </p:nvGrpSpPr>
        <p:grpSpPr bwMode="auto">
          <a:xfrm>
            <a:off x="0" y="6783388"/>
            <a:ext cx="12192000" cy="92075"/>
            <a:chOff x="1" y="6096362"/>
            <a:chExt cx="9224209" cy="191046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8825ED2D-9917-9582-40A2-0EBEEEE8DA74}"/>
                </a:ext>
              </a:extLst>
            </p:cNvPr>
            <p:cNvSpPr/>
            <p:nvPr/>
          </p:nvSpPr>
          <p:spPr>
            <a:xfrm>
              <a:off x="3417042" y="6096362"/>
              <a:ext cx="2902983" cy="191046"/>
            </a:xfrm>
            <a:prstGeom prst="rect">
              <a:avLst/>
            </a:prstGeom>
            <a:solidFill>
              <a:srgbClr val="E35F1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D26666A0-749E-73B2-F13A-F5F11CFD292C}"/>
                </a:ext>
              </a:extLst>
            </p:cNvPr>
            <p:cNvSpPr/>
            <p:nvPr/>
          </p:nvSpPr>
          <p:spPr>
            <a:xfrm>
              <a:off x="6320025" y="6096362"/>
              <a:ext cx="2904185" cy="191046"/>
            </a:xfrm>
            <a:prstGeom prst="rect">
              <a:avLst/>
            </a:prstGeom>
            <a:solidFill>
              <a:srgbClr val="FC9B0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53BFC78-BF7F-2100-C263-E6F3745E25F9}"/>
                </a:ext>
              </a:extLst>
            </p:cNvPr>
            <p:cNvSpPr/>
            <p:nvPr/>
          </p:nvSpPr>
          <p:spPr>
            <a:xfrm>
              <a:off x="1" y="6096362"/>
              <a:ext cx="3417041" cy="191046"/>
            </a:xfrm>
            <a:prstGeom prst="rect">
              <a:avLst/>
            </a:prstGeom>
            <a:solidFill>
              <a:srgbClr val="0244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5036984F-1A6F-3234-6393-00DFA4987392}"/>
              </a:ext>
            </a:extLst>
          </p:cNvPr>
          <p:cNvSpPr/>
          <p:nvPr/>
        </p:nvSpPr>
        <p:spPr>
          <a:xfrm>
            <a:off x="0" y="231775"/>
            <a:ext cx="12192000" cy="73025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IN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EDE20D4-C48C-93ED-4830-16D42546A11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6213" y="349250"/>
            <a:ext cx="9825037" cy="52228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txBody>
          <a:bodyPr anchor="b"/>
          <a:lstStyle>
            <a:lvl1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marL="406400" indent="-406400" eaLnBrk="1" hangingPunct="1">
              <a:lnSpc>
                <a:spcPct val="150000"/>
              </a:lnSpc>
              <a:defRPr/>
            </a:pPr>
            <a:endParaRPr lang="en-IN" altLang="en-US" sz="2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DB6E51D-2190-9577-3FB9-2B156742BD21}"/>
              </a:ext>
            </a:extLst>
          </p:cNvPr>
          <p:cNvSpPr/>
          <p:nvPr/>
        </p:nvSpPr>
        <p:spPr>
          <a:xfrm>
            <a:off x="10001250" y="349250"/>
            <a:ext cx="2014538" cy="522288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RAL_ID_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5AF782CC-0C73-B036-425A-5A7A7E80E3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92859" y="6508750"/>
            <a:ext cx="7008391" cy="365125"/>
          </a:xfrm>
        </p:spPr>
        <p:txBody>
          <a:bodyPr/>
          <a:lstStyle/>
          <a:p>
            <a:pPr>
              <a:defRPr/>
            </a:pPr>
            <a:r>
              <a:rPr lang="en-IN" dirty="0"/>
              <a:t>JSS TDM 1.0 2026, JSS College of Pharmacy, &amp; JSS Medical </a:t>
            </a:r>
            <a:r>
              <a:rPr lang="en-US" dirty="0"/>
              <a:t>College</a:t>
            </a:r>
            <a:r>
              <a:rPr lang="en-IN" dirty="0"/>
              <a:t> Mysuru, JSSAHER, Karnataka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543511-E9D9-BD37-51D8-0E9C6C2E76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12ECC0D-A7DD-4F4D-8195-39218605639E}" type="slidenum">
              <a:rPr lang="en-IN" smtClean="0"/>
              <a:pPr>
                <a:defRPr/>
              </a:pPr>
              <a:t>10</a:t>
            </a:fld>
            <a:endParaRPr lang="en-IN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4EA3373-6C53-3C6B-C702-4D39023509CE}"/>
              </a:ext>
            </a:extLst>
          </p:cNvPr>
          <p:cNvSpPr txBox="1"/>
          <p:nvPr/>
        </p:nvSpPr>
        <p:spPr>
          <a:xfrm>
            <a:off x="3480319" y="2990096"/>
            <a:ext cx="4177554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ank You</a:t>
            </a:r>
            <a:endParaRPr lang="en-IN" sz="6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2791579"/>
      </p:ext>
    </p:extLst>
  </p:cSld>
  <p:clrMapOvr>
    <a:masterClrMapping/>
  </p:clrMapOvr>
  <p:transition spd="slow">
    <p:split orient="vert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11" hidden="1">
            <a:extLst>
              <a:ext uri="{FF2B5EF4-FFF2-40B4-BE49-F238E27FC236}">
                <a16:creationId xmlns:a16="http://schemas.microsoft.com/office/drawing/2014/main" id="{635013D1-9EF9-7542-8737-A6A292C40E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4098" name="Object 11" hidden="1">
                        <a:extLst>
                          <a:ext uri="{FF2B5EF4-FFF2-40B4-BE49-F238E27FC236}">
                            <a16:creationId xmlns:a16="http://schemas.microsoft.com/office/drawing/2014/main" id="{635013D1-9EF9-7542-8737-A6A292C40E2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13FFA255-EE92-10CF-569E-A09CEEC021C9}"/>
              </a:ext>
            </a:extLst>
          </p:cNvPr>
          <p:cNvSpPr/>
          <p:nvPr/>
        </p:nvSpPr>
        <p:spPr>
          <a:xfrm>
            <a:off x="0" y="7938"/>
            <a:ext cx="12192000" cy="192087"/>
          </a:xfrm>
          <a:prstGeom prst="rect">
            <a:avLst/>
          </a:prstGeom>
          <a:solidFill>
            <a:srgbClr val="024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780703D-CDE8-AC87-B355-88FEE10987BA}"/>
              </a:ext>
            </a:extLst>
          </p:cNvPr>
          <p:cNvSpPr/>
          <p:nvPr/>
        </p:nvSpPr>
        <p:spPr>
          <a:xfrm>
            <a:off x="0" y="-4763"/>
            <a:ext cx="12192000" cy="152401"/>
          </a:xfrm>
          <a:prstGeom prst="rect">
            <a:avLst/>
          </a:prstGeom>
          <a:solidFill>
            <a:srgbClr val="E35F1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grpSp>
        <p:nvGrpSpPr>
          <p:cNvPr id="4101" name="Group 10">
            <a:extLst>
              <a:ext uri="{FF2B5EF4-FFF2-40B4-BE49-F238E27FC236}">
                <a16:creationId xmlns:a16="http://schemas.microsoft.com/office/drawing/2014/main" id="{0D332DA5-4BEA-9308-B724-0258FACEBF77}"/>
              </a:ext>
            </a:extLst>
          </p:cNvPr>
          <p:cNvGrpSpPr>
            <a:grpSpLocks/>
          </p:cNvGrpSpPr>
          <p:nvPr/>
        </p:nvGrpSpPr>
        <p:grpSpPr bwMode="auto">
          <a:xfrm>
            <a:off x="0" y="6783388"/>
            <a:ext cx="12192000" cy="92075"/>
            <a:chOff x="1" y="6096362"/>
            <a:chExt cx="9224209" cy="191046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8EAD341-CAEC-26D3-36C6-2A12275309FD}"/>
                </a:ext>
              </a:extLst>
            </p:cNvPr>
            <p:cNvSpPr/>
            <p:nvPr/>
          </p:nvSpPr>
          <p:spPr>
            <a:xfrm>
              <a:off x="3417042" y="6096362"/>
              <a:ext cx="2902983" cy="191046"/>
            </a:xfrm>
            <a:prstGeom prst="rect">
              <a:avLst/>
            </a:prstGeom>
            <a:solidFill>
              <a:srgbClr val="E35F1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D8779C2-3893-ADA0-BC1E-941249822DEF}"/>
                </a:ext>
              </a:extLst>
            </p:cNvPr>
            <p:cNvSpPr/>
            <p:nvPr/>
          </p:nvSpPr>
          <p:spPr>
            <a:xfrm>
              <a:off x="6320025" y="6096362"/>
              <a:ext cx="2904185" cy="191046"/>
            </a:xfrm>
            <a:prstGeom prst="rect">
              <a:avLst/>
            </a:prstGeom>
            <a:solidFill>
              <a:srgbClr val="FC9B0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0B7290C-E4E5-A59C-FD2A-22D2DFD48838}"/>
                </a:ext>
              </a:extLst>
            </p:cNvPr>
            <p:cNvSpPr/>
            <p:nvPr/>
          </p:nvSpPr>
          <p:spPr>
            <a:xfrm>
              <a:off x="1" y="6096362"/>
              <a:ext cx="3417041" cy="191046"/>
            </a:xfrm>
            <a:prstGeom prst="rect">
              <a:avLst/>
            </a:prstGeom>
            <a:solidFill>
              <a:srgbClr val="0244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39C6EB82-BC81-D7F1-8211-29F03495BAA0}"/>
              </a:ext>
            </a:extLst>
          </p:cNvPr>
          <p:cNvSpPr/>
          <p:nvPr/>
        </p:nvSpPr>
        <p:spPr>
          <a:xfrm>
            <a:off x="0" y="231775"/>
            <a:ext cx="12192000" cy="73025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IN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4103" name="Title 1">
            <a:extLst>
              <a:ext uri="{FF2B5EF4-FFF2-40B4-BE49-F238E27FC236}">
                <a16:creationId xmlns:a16="http://schemas.microsoft.com/office/drawing/2014/main" id="{2C486A65-C7EB-9E64-05AC-B1E78A120381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176213" y="349250"/>
            <a:ext cx="9825037" cy="522288"/>
          </a:xfr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txBody>
          <a:bodyPr>
            <a:normAutofit fontScale="90000"/>
          </a:bodyPr>
          <a:lstStyle/>
          <a:p>
            <a:pPr marL="406400" indent="-406400" eaLnBrk="1" hangingPunct="1">
              <a:lnSpc>
                <a:spcPct val="150000"/>
              </a:lnSpc>
              <a:defRPr/>
            </a:pPr>
            <a:br>
              <a:rPr lang="en-IN" altLang="en-US" sz="40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br>
              <a:rPr lang="en-IN" altLang="en-US" sz="40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IN" altLang="en-US" sz="4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troduction</a:t>
            </a:r>
            <a:r>
              <a:rPr lang="en-IN" altLang="en-US" sz="4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IN" altLang="en-US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779DCE3-A163-963F-3AE1-0C7721B01F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92859" y="6508750"/>
            <a:ext cx="7008391" cy="365125"/>
          </a:xfrm>
        </p:spPr>
        <p:txBody>
          <a:bodyPr/>
          <a:lstStyle/>
          <a:p>
            <a:pPr>
              <a:defRPr/>
            </a:pPr>
            <a:r>
              <a:rPr lang="en-IN" dirty="0"/>
              <a:t>JSS TDM 1.0 2026, JSS College of Pharmacy, &amp; JSS Medical </a:t>
            </a:r>
            <a:r>
              <a:rPr lang="en-US" dirty="0"/>
              <a:t>College</a:t>
            </a:r>
            <a:r>
              <a:rPr lang="en-IN" dirty="0"/>
              <a:t> Mysuru, JSSAHER, Karnataka 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2F3F013C-3684-0AF6-864C-14FB5830C7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1AB2B3D-AAB3-4A51-87E0-FE744DC4D090}" type="slidenum">
              <a:rPr lang="en-IN" smtClean="0"/>
              <a:pPr>
                <a:defRPr/>
              </a:pPr>
              <a:t>2</a:t>
            </a:fld>
            <a:endParaRPr lang="en-IN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CBBE618-2DCD-B286-14C8-42C7D0E348DA}"/>
              </a:ext>
            </a:extLst>
          </p:cNvPr>
          <p:cNvSpPr/>
          <p:nvPr/>
        </p:nvSpPr>
        <p:spPr>
          <a:xfrm>
            <a:off x="10001250" y="349250"/>
            <a:ext cx="2014538" cy="522288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RAL_ID_</a:t>
            </a:r>
          </a:p>
        </p:txBody>
      </p:sp>
    </p:spTree>
  </p:cSld>
  <p:clrMapOvr>
    <a:masterClrMapping/>
  </p:clrMapOvr>
  <p:transition spd="slow">
    <p:split orient="vert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Object 11" hidden="1">
            <a:extLst>
              <a:ext uri="{FF2B5EF4-FFF2-40B4-BE49-F238E27FC236}">
                <a16:creationId xmlns:a16="http://schemas.microsoft.com/office/drawing/2014/main" id="{19EFAE3B-1C53-2899-C9FC-5B3FAED826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5122" name="Object 11" hidden="1">
                        <a:extLst>
                          <a:ext uri="{FF2B5EF4-FFF2-40B4-BE49-F238E27FC236}">
                            <a16:creationId xmlns:a16="http://schemas.microsoft.com/office/drawing/2014/main" id="{19EFAE3B-1C53-2899-C9FC-5B3FAED826E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CA941356-0436-6F5B-A157-9AAC5BD8C335}"/>
              </a:ext>
            </a:extLst>
          </p:cNvPr>
          <p:cNvSpPr/>
          <p:nvPr/>
        </p:nvSpPr>
        <p:spPr>
          <a:xfrm>
            <a:off x="0" y="7938"/>
            <a:ext cx="12192000" cy="192087"/>
          </a:xfrm>
          <a:prstGeom prst="rect">
            <a:avLst/>
          </a:prstGeom>
          <a:solidFill>
            <a:srgbClr val="024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3F9C0FF-854C-46B6-5835-3E3394E37023}"/>
              </a:ext>
            </a:extLst>
          </p:cNvPr>
          <p:cNvSpPr/>
          <p:nvPr/>
        </p:nvSpPr>
        <p:spPr>
          <a:xfrm>
            <a:off x="0" y="-4763"/>
            <a:ext cx="12192000" cy="152401"/>
          </a:xfrm>
          <a:prstGeom prst="rect">
            <a:avLst/>
          </a:prstGeom>
          <a:solidFill>
            <a:srgbClr val="E35F1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grpSp>
        <p:nvGrpSpPr>
          <p:cNvPr id="5125" name="Group 10">
            <a:extLst>
              <a:ext uri="{FF2B5EF4-FFF2-40B4-BE49-F238E27FC236}">
                <a16:creationId xmlns:a16="http://schemas.microsoft.com/office/drawing/2014/main" id="{5D86EC38-04D7-34F2-6AC5-4245AD581F83}"/>
              </a:ext>
            </a:extLst>
          </p:cNvPr>
          <p:cNvGrpSpPr>
            <a:grpSpLocks/>
          </p:cNvGrpSpPr>
          <p:nvPr/>
        </p:nvGrpSpPr>
        <p:grpSpPr bwMode="auto">
          <a:xfrm>
            <a:off x="0" y="6783388"/>
            <a:ext cx="12192000" cy="92075"/>
            <a:chOff x="1" y="6096362"/>
            <a:chExt cx="9224209" cy="191046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92FFA3A-1B10-D36E-4A41-81178AE76744}"/>
                </a:ext>
              </a:extLst>
            </p:cNvPr>
            <p:cNvSpPr/>
            <p:nvPr/>
          </p:nvSpPr>
          <p:spPr>
            <a:xfrm>
              <a:off x="3417042" y="6096362"/>
              <a:ext cx="2902983" cy="191046"/>
            </a:xfrm>
            <a:prstGeom prst="rect">
              <a:avLst/>
            </a:prstGeom>
            <a:solidFill>
              <a:srgbClr val="E35F1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AD50108-DA6F-2081-CC61-1FEEF2EF1F9C}"/>
                </a:ext>
              </a:extLst>
            </p:cNvPr>
            <p:cNvSpPr/>
            <p:nvPr/>
          </p:nvSpPr>
          <p:spPr>
            <a:xfrm>
              <a:off x="6320025" y="6096362"/>
              <a:ext cx="2904185" cy="191046"/>
            </a:xfrm>
            <a:prstGeom prst="rect">
              <a:avLst/>
            </a:prstGeom>
            <a:solidFill>
              <a:srgbClr val="FC9B0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E34C695-6D27-38F0-3951-FBFDF4533AE3}"/>
                </a:ext>
              </a:extLst>
            </p:cNvPr>
            <p:cNvSpPr/>
            <p:nvPr/>
          </p:nvSpPr>
          <p:spPr>
            <a:xfrm>
              <a:off x="1" y="6096362"/>
              <a:ext cx="3417041" cy="191046"/>
            </a:xfrm>
            <a:prstGeom prst="rect">
              <a:avLst/>
            </a:prstGeom>
            <a:solidFill>
              <a:srgbClr val="0244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86692AE5-5ABA-10CD-689B-42EACDE7F0FF}"/>
              </a:ext>
            </a:extLst>
          </p:cNvPr>
          <p:cNvSpPr/>
          <p:nvPr/>
        </p:nvSpPr>
        <p:spPr>
          <a:xfrm>
            <a:off x="0" y="231775"/>
            <a:ext cx="12192000" cy="73025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IN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2944969-18C2-F3AB-6E0E-E4709230B39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6213" y="349250"/>
            <a:ext cx="9825037" cy="52228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txBody>
          <a:bodyPr anchor="b"/>
          <a:lstStyle>
            <a:lvl1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marL="406400" indent="-406400" eaLnBrk="1" hangingPunct="1">
              <a:lnSpc>
                <a:spcPct val="150000"/>
              </a:lnSpc>
              <a:defRPr/>
            </a:pPr>
            <a:endParaRPr lang="en-IN" altLang="en-US" sz="4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06400" indent="-406400" eaLnBrk="1" hangingPunct="1">
              <a:lnSpc>
                <a:spcPct val="150000"/>
              </a:lnSpc>
              <a:defRPr/>
            </a:pPr>
            <a:endParaRPr lang="en-IN" altLang="en-US" sz="4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06400" indent="-406400" eaLnBrk="1" hangingPunct="1">
              <a:lnSpc>
                <a:spcPct val="150000"/>
              </a:lnSpc>
              <a:defRPr/>
            </a:pPr>
            <a:r>
              <a:rPr lang="en-IN" altLang="en-US" sz="4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Aims &amp; Objectives </a:t>
            </a:r>
            <a:r>
              <a:rPr lang="en-IN" altLang="en-US" sz="4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IN" altLang="en-US" sz="2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4B7F009-EABA-2562-AE9F-3E0EF2B61D72}"/>
              </a:ext>
            </a:extLst>
          </p:cNvPr>
          <p:cNvSpPr/>
          <p:nvPr/>
        </p:nvSpPr>
        <p:spPr>
          <a:xfrm>
            <a:off x="10001250" y="349250"/>
            <a:ext cx="2014538" cy="522288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RAL_ID_</a:t>
            </a:r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A26B7092-D4D3-ED40-DC36-5943BD1534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92859" y="6508750"/>
            <a:ext cx="7008391" cy="365125"/>
          </a:xfrm>
        </p:spPr>
        <p:txBody>
          <a:bodyPr/>
          <a:lstStyle/>
          <a:p>
            <a:pPr>
              <a:defRPr/>
            </a:pPr>
            <a:r>
              <a:rPr lang="en-IN" dirty="0"/>
              <a:t>JSS TDM 1.0 2026, JSS College of Pharmacy, &amp; JSS Medical </a:t>
            </a:r>
            <a:r>
              <a:rPr lang="en-US" dirty="0"/>
              <a:t>College</a:t>
            </a:r>
            <a:r>
              <a:rPr lang="en-IN" dirty="0"/>
              <a:t> Mysuru, JSSAHER, Karnataka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2464927-85F1-F33B-3713-E94D867B71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D78D6A1-997C-4D9F-93CC-BA7399BEA8FD}" type="slidenum">
              <a:rPr lang="en-IN" smtClean="0"/>
              <a:pPr>
                <a:defRPr/>
              </a:pPr>
              <a:t>3</a:t>
            </a:fld>
            <a:endParaRPr lang="en-IN"/>
          </a:p>
        </p:txBody>
      </p:sp>
    </p:spTree>
  </p:cSld>
  <p:clrMapOvr>
    <a:masterClrMapping/>
  </p:clrMapOvr>
  <p:transition spd="slow">
    <p:split orient="vert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Object 11" hidden="1">
            <a:extLst>
              <a:ext uri="{FF2B5EF4-FFF2-40B4-BE49-F238E27FC236}">
                <a16:creationId xmlns:a16="http://schemas.microsoft.com/office/drawing/2014/main" id="{3A75B78A-C363-FCCC-0A9B-5595BE7A5C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6146" name="Object 11" hidden="1">
                        <a:extLst>
                          <a:ext uri="{FF2B5EF4-FFF2-40B4-BE49-F238E27FC236}">
                            <a16:creationId xmlns:a16="http://schemas.microsoft.com/office/drawing/2014/main" id="{3A75B78A-C363-FCCC-0A9B-5595BE7A5C8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5AD2F86C-D650-B157-ADAE-4D8460C3414A}"/>
              </a:ext>
            </a:extLst>
          </p:cNvPr>
          <p:cNvSpPr/>
          <p:nvPr/>
        </p:nvSpPr>
        <p:spPr>
          <a:xfrm>
            <a:off x="0" y="7938"/>
            <a:ext cx="12192000" cy="192087"/>
          </a:xfrm>
          <a:prstGeom prst="rect">
            <a:avLst/>
          </a:prstGeom>
          <a:solidFill>
            <a:srgbClr val="024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FAE160B-1FD3-C4DC-022E-C64856B8D6BB}"/>
              </a:ext>
            </a:extLst>
          </p:cNvPr>
          <p:cNvSpPr/>
          <p:nvPr/>
        </p:nvSpPr>
        <p:spPr>
          <a:xfrm>
            <a:off x="0" y="-4763"/>
            <a:ext cx="12192000" cy="152401"/>
          </a:xfrm>
          <a:prstGeom prst="rect">
            <a:avLst/>
          </a:prstGeom>
          <a:solidFill>
            <a:srgbClr val="E35F1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grpSp>
        <p:nvGrpSpPr>
          <p:cNvPr id="6149" name="Group 10">
            <a:extLst>
              <a:ext uri="{FF2B5EF4-FFF2-40B4-BE49-F238E27FC236}">
                <a16:creationId xmlns:a16="http://schemas.microsoft.com/office/drawing/2014/main" id="{97A9ADBA-65EB-EA7B-6A7D-DF5C5A9A2C57}"/>
              </a:ext>
            </a:extLst>
          </p:cNvPr>
          <p:cNvGrpSpPr>
            <a:grpSpLocks/>
          </p:cNvGrpSpPr>
          <p:nvPr/>
        </p:nvGrpSpPr>
        <p:grpSpPr bwMode="auto">
          <a:xfrm>
            <a:off x="0" y="6783388"/>
            <a:ext cx="12192000" cy="92075"/>
            <a:chOff x="1" y="6096362"/>
            <a:chExt cx="9224209" cy="191046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0C5DC7D-F6F4-96F0-7EC0-C6520B1056A5}"/>
                </a:ext>
              </a:extLst>
            </p:cNvPr>
            <p:cNvSpPr/>
            <p:nvPr/>
          </p:nvSpPr>
          <p:spPr>
            <a:xfrm>
              <a:off x="3417042" y="6096362"/>
              <a:ext cx="2902983" cy="191046"/>
            </a:xfrm>
            <a:prstGeom prst="rect">
              <a:avLst/>
            </a:prstGeom>
            <a:solidFill>
              <a:srgbClr val="E35F1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AD5D4981-2F1C-88CF-E871-AF9A7FA94EE3}"/>
                </a:ext>
              </a:extLst>
            </p:cNvPr>
            <p:cNvSpPr/>
            <p:nvPr/>
          </p:nvSpPr>
          <p:spPr>
            <a:xfrm>
              <a:off x="6320025" y="6096362"/>
              <a:ext cx="2904185" cy="191046"/>
            </a:xfrm>
            <a:prstGeom prst="rect">
              <a:avLst/>
            </a:prstGeom>
            <a:solidFill>
              <a:srgbClr val="FC9B0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3037AD2-49AE-B7AF-20BE-DFBB7B89D8DC}"/>
                </a:ext>
              </a:extLst>
            </p:cNvPr>
            <p:cNvSpPr/>
            <p:nvPr/>
          </p:nvSpPr>
          <p:spPr>
            <a:xfrm>
              <a:off x="1" y="6096362"/>
              <a:ext cx="3417041" cy="191046"/>
            </a:xfrm>
            <a:prstGeom prst="rect">
              <a:avLst/>
            </a:prstGeom>
            <a:solidFill>
              <a:srgbClr val="0244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CC93B5A8-E605-3412-7BF5-4C068BDAFCB7}"/>
              </a:ext>
            </a:extLst>
          </p:cNvPr>
          <p:cNvSpPr/>
          <p:nvPr/>
        </p:nvSpPr>
        <p:spPr>
          <a:xfrm>
            <a:off x="0" y="231775"/>
            <a:ext cx="12192000" cy="73025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IN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2F87E307-7481-E7F7-A0DF-53378CFF83B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6213" y="349250"/>
            <a:ext cx="9825037" cy="52228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txBody>
          <a:bodyPr anchor="b"/>
          <a:lstStyle>
            <a:lvl1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marL="406400" indent="-406400" eaLnBrk="1" hangingPunct="1">
              <a:lnSpc>
                <a:spcPct val="150000"/>
              </a:lnSpc>
              <a:defRPr/>
            </a:pPr>
            <a:r>
              <a:rPr lang="en-IN" altLang="en-US" sz="4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terials &amp; Methods </a:t>
            </a:r>
            <a:endParaRPr lang="en-IN" altLang="en-US" sz="2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DC20BF8-FAE0-2C69-C733-9D47B5202DBE}"/>
              </a:ext>
            </a:extLst>
          </p:cNvPr>
          <p:cNvSpPr/>
          <p:nvPr/>
        </p:nvSpPr>
        <p:spPr>
          <a:xfrm>
            <a:off x="10001250" y="349250"/>
            <a:ext cx="2014538" cy="522288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RAL_ID_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647D92B4-6060-39D9-7AF4-10C44A2ACD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92859" y="6508750"/>
            <a:ext cx="7008391" cy="365125"/>
          </a:xfrm>
        </p:spPr>
        <p:txBody>
          <a:bodyPr/>
          <a:lstStyle/>
          <a:p>
            <a:pPr>
              <a:defRPr/>
            </a:pPr>
            <a:r>
              <a:rPr lang="en-IN" dirty="0"/>
              <a:t>JSS TDM 1.0 2026, JSS College of Pharmacy, &amp; JSS Medical </a:t>
            </a:r>
            <a:r>
              <a:rPr lang="en-US" dirty="0"/>
              <a:t>College</a:t>
            </a:r>
            <a:r>
              <a:rPr lang="en-IN" dirty="0"/>
              <a:t> Mysuru, JSSAHER, Karnataka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CC0C363-0102-762D-696D-B7AEC12D98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25D3929-CF91-4949-898D-F1633326C849}" type="slidenum">
              <a:rPr lang="en-IN" smtClean="0"/>
              <a:pPr>
                <a:defRPr/>
              </a:pPr>
              <a:t>4</a:t>
            </a:fld>
            <a:endParaRPr lang="en-IN"/>
          </a:p>
        </p:txBody>
      </p:sp>
    </p:spTree>
  </p:cSld>
  <p:clrMapOvr>
    <a:masterClrMapping/>
  </p:clrMapOvr>
  <p:transition spd="slow">
    <p:split orient="vert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4026FC-C6CF-99F2-0186-91D7DFC837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Object 11" hidden="1">
            <a:extLst>
              <a:ext uri="{FF2B5EF4-FFF2-40B4-BE49-F238E27FC236}">
                <a16:creationId xmlns:a16="http://schemas.microsoft.com/office/drawing/2014/main" id="{CAB18F0C-9DF4-A98C-A158-70C280D6C1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6146" name="Object 11" hidden="1">
                        <a:extLst>
                          <a:ext uri="{FF2B5EF4-FFF2-40B4-BE49-F238E27FC236}">
                            <a16:creationId xmlns:a16="http://schemas.microsoft.com/office/drawing/2014/main" id="{3A75B78A-C363-FCCC-0A9B-5595BE7A5C8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EB17A4B3-973D-7E73-1E73-0F3E3C1AFE63}"/>
              </a:ext>
            </a:extLst>
          </p:cNvPr>
          <p:cNvSpPr/>
          <p:nvPr/>
        </p:nvSpPr>
        <p:spPr>
          <a:xfrm>
            <a:off x="0" y="7938"/>
            <a:ext cx="12192000" cy="192087"/>
          </a:xfrm>
          <a:prstGeom prst="rect">
            <a:avLst/>
          </a:prstGeom>
          <a:solidFill>
            <a:srgbClr val="024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63493AC-D3AE-D69B-DE18-225729E87FC9}"/>
              </a:ext>
            </a:extLst>
          </p:cNvPr>
          <p:cNvSpPr/>
          <p:nvPr/>
        </p:nvSpPr>
        <p:spPr>
          <a:xfrm>
            <a:off x="0" y="-4763"/>
            <a:ext cx="12192000" cy="152401"/>
          </a:xfrm>
          <a:prstGeom prst="rect">
            <a:avLst/>
          </a:prstGeom>
          <a:solidFill>
            <a:srgbClr val="E35F1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grpSp>
        <p:nvGrpSpPr>
          <p:cNvPr id="6149" name="Group 10">
            <a:extLst>
              <a:ext uri="{FF2B5EF4-FFF2-40B4-BE49-F238E27FC236}">
                <a16:creationId xmlns:a16="http://schemas.microsoft.com/office/drawing/2014/main" id="{F50C0038-9158-148F-1616-25A40363CC3A}"/>
              </a:ext>
            </a:extLst>
          </p:cNvPr>
          <p:cNvGrpSpPr>
            <a:grpSpLocks/>
          </p:cNvGrpSpPr>
          <p:nvPr/>
        </p:nvGrpSpPr>
        <p:grpSpPr bwMode="auto">
          <a:xfrm>
            <a:off x="0" y="6783388"/>
            <a:ext cx="12192000" cy="92075"/>
            <a:chOff x="1" y="6096362"/>
            <a:chExt cx="9224209" cy="191046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B6E44A76-E984-9824-FFD7-3969098B5B02}"/>
                </a:ext>
              </a:extLst>
            </p:cNvPr>
            <p:cNvSpPr/>
            <p:nvPr/>
          </p:nvSpPr>
          <p:spPr>
            <a:xfrm>
              <a:off x="3417042" y="6096362"/>
              <a:ext cx="2902983" cy="191046"/>
            </a:xfrm>
            <a:prstGeom prst="rect">
              <a:avLst/>
            </a:prstGeom>
            <a:solidFill>
              <a:srgbClr val="E35F1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9912862D-913D-7B81-3E6C-026966B69A85}"/>
                </a:ext>
              </a:extLst>
            </p:cNvPr>
            <p:cNvSpPr/>
            <p:nvPr/>
          </p:nvSpPr>
          <p:spPr>
            <a:xfrm>
              <a:off x="6320025" y="6096362"/>
              <a:ext cx="2904185" cy="191046"/>
            </a:xfrm>
            <a:prstGeom prst="rect">
              <a:avLst/>
            </a:prstGeom>
            <a:solidFill>
              <a:srgbClr val="FC9B0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F1FB2FD-8720-3232-5EDC-746582F8CD51}"/>
                </a:ext>
              </a:extLst>
            </p:cNvPr>
            <p:cNvSpPr/>
            <p:nvPr/>
          </p:nvSpPr>
          <p:spPr>
            <a:xfrm>
              <a:off x="1" y="6096362"/>
              <a:ext cx="3417041" cy="191046"/>
            </a:xfrm>
            <a:prstGeom prst="rect">
              <a:avLst/>
            </a:prstGeom>
            <a:solidFill>
              <a:srgbClr val="0244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FA9822E4-2BB1-5FEB-3FAE-080FE6432130}"/>
              </a:ext>
            </a:extLst>
          </p:cNvPr>
          <p:cNvSpPr/>
          <p:nvPr/>
        </p:nvSpPr>
        <p:spPr>
          <a:xfrm>
            <a:off x="0" y="231775"/>
            <a:ext cx="12192000" cy="73025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IN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84364F8-816B-1073-C556-D2B1D394A7E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6213" y="349250"/>
            <a:ext cx="9825037" cy="52228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txBody>
          <a:bodyPr anchor="b"/>
          <a:lstStyle>
            <a:lvl1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marL="406400" indent="-406400" eaLnBrk="1" hangingPunct="1">
              <a:lnSpc>
                <a:spcPct val="150000"/>
              </a:lnSpc>
              <a:defRPr/>
            </a:pPr>
            <a:r>
              <a:rPr lang="en-IN" altLang="en-US" sz="4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terials &amp; Methods </a:t>
            </a:r>
            <a:endParaRPr lang="en-IN" altLang="en-US" sz="2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5868F84-6853-6BB7-406A-27F69FB5ECA5}"/>
              </a:ext>
            </a:extLst>
          </p:cNvPr>
          <p:cNvSpPr/>
          <p:nvPr/>
        </p:nvSpPr>
        <p:spPr>
          <a:xfrm>
            <a:off x="10001250" y="349250"/>
            <a:ext cx="2014538" cy="522288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RAL_ID_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ACB11DB-EA48-6914-8E18-4FC35E3B35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92859" y="6508750"/>
            <a:ext cx="7008391" cy="365125"/>
          </a:xfrm>
        </p:spPr>
        <p:txBody>
          <a:bodyPr/>
          <a:lstStyle/>
          <a:p>
            <a:pPr>
              <a:defRPr/>
            </a:pPr>
            <a:r>
              <a:rPr lang="en-IN" dirty="0"/>
              <a:t>JSS TDM 1.0 2026, JSS College of Pharmacy, &amp; JSS Medical </a:t>
            </a:r>
            <a:r>
              <a:rPr lang="en-US" dirty="0"/>
              <a:t>College</a:t>
            </a:r>
            <a:r>
              <a:rPr lang="en-IN" dirty="0"/>
              <a:t> Mysuru, JSSAHER, Karnataka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51F62D-209D-E25C-A5EF-AA0518EE6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25D3929-CF91-4949-898D-F1633326C849}" type="slidenum">
              <a:rPr lang="en-IN" smtClean="0"/>
              <a:pPr>
                <a:defRPr/>
              </a:pPr>
              <a:t>5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73787061"/>
      </p:ext>
    </p:extLst>
  </p:cSld>
  <p:clrMapOvr>
    <a:masterClrMapping/>
  </p:clrMapOvr>
  <p:transition spd="slow">
    <p:split orient="vert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ct 11" hidden="1">
            <a:extLst>
              <a:ext uri="{FF2B5EF4-FFF2-40B4-BE49-F238E27FC236}">
                <a16:creationId xmlns:a16="http://schemas.microsoft.com/office/drawing/2014/main" id="{33C4A105-FF68-610D-19D4-32FB310F93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7170" name="Object 11" hidden="1">
                        <a:extLst>
                          <a:ext uri="{FF2B5EF4-FFF2-40B4-BE49-F238E27FC236}">
                            <a16:creationId xmlns:a16="http://schemas.microsoft.com/office/drawing/2014/main" id="{33C4A105-FF68-610D-19D4-32FB310F93D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9B46F1EE-F6E5-06C4-778F-E3DBBA3D1DB6}"/>
              </a:ext>
            </a:extLst>
          </p:cNvPr>
          <p:cNvSpPr/>
          <p:nvPr/>
        </p:nvSpPr>
        <p:spPr>
          <a:xfrm>
            <a:off x="0" y="7938"/>
            <a:ext cx="12192000" cy="192087"/>
          </a:xfrm>
          <a:prstGeom prst="rect">
            <a:avLst/>
          </a:prstGeom>
          <a:solidFill>
            <a:srgbClr val="024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21036CF-6C14-54C3-9FEC-84C764945363}"/>
              </a:ext>
            </a:extLst>
          </p:cNvPr>
          <p:cNvSpPr/>
          <p:nvPr/>
        </p:nvSpPr>
        <p:spPr>
          <a:xfrm>
            <a:off x="0" y="-4763"/>
            <a:ext cx="12192000" cy="152401"/>
          </a:xfrm>
          <a:prstGeom prst="rect">
            <a:avLst/>
          </a:prstGeom>
          <a:solidFill>
            <a:srgbClr val="E35F1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grpSp>
        <p:nvGrpSpPr>
          <p:cNvPr id="7173" name="Group 10">
            <a:extLst>
              <a:ext uri="{FF2B5EF4-FFF2-40B4-BE49-F238E27FC236}">
                <a16:creationId xmlns:a16="http://schemas.microsoft.com/office/drawing/2014/main" id="{7B2F26DC-5A2C-9CA7-D3B3-03F906875199}"/>
              </a:ext>
            </a:extLst>
          </p:cNvPr>
          <p:cNvGrpSpPr>
            <a:grpSpLocks/>
          </p:cNvGrpSpPr>
          <p:nvPr/>
        </p:nvGrpSpPr>
        <p:grpSpPr bwMode="auto">
          <a:xfrm>
            <a:off x="0" y="6783388"/>
            <a:ext cx="12192000" cy="92075"/>
            <a:chOff x="1" y="6096362"/>
            <a:chExt cx="9224209" cy="191046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9C518F88-0A19-40C1-C9CC-DD77617EAB7B}"/>
                </a:ext>
              </a:extLst>
            </p:cNvPr>
            <p:cNvSpPr/>
            <p:nvPr/>
          </p:nvSpPr>
          <p:spPr>
            <a:xfrm>
              <a:off x="3417042" y="6096362"/>
              <a:ext cx="2902983" cy="191046"/>
            </a:xfrm>
            <a:prstGeom prst="rect">
              <a:avLst/>
            </a:prstGeom>
            <a:solidFill>
              <a:srgbClr val="E35F1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31C8ED6-CDA0-17AD-0B98-629B38A1D8FC}"/>
                </a:ext>
              </a:extLst>
            </p:cNvPr>
            <p:cNvSpPr/>
            <p:nvPr/>
          </p:nvSpPr>
          <p:spPr>
            <a:xfrm>
              <a:off x="6320025" y="6096362"/>
              <a:ext cx="2904185" cy="191046"/>
            </a:xfrm>
            <a:prstGeom prst="rect">
              <a:avLst/>
            </a:prstGeom>
            <a:solidFill>
              <a:srgbClr val="FC9B0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B6AD788-8814-4205-12DD-8AC9BA41AEA6}"/>
                </a:ext>
              </a:extLst>
            </p:cNvPr>
            <p:cNvSpPr/>
            <p:nvPr/>
          </p:nvSpPr>
          <p:spPr>
            <a:xfrm>
              <a:off x="1" y="6096362"/>
              <a:ext cx="3417041" cy="191046"/>
            </a:xfrm>
            <a:prstGeom prst="rect">
              <a:avLst/>
            </a:prstGeom>
            <a:solidFill>
              <a:srgbClr val="0244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96112630-3741-0DB7-8769-6922FE32C4B2}"/>
              </a:ext>
            </a:extLst>
          </p:cNvPr>
          <p:cNvSpPr/>
          <p:nvPr/>
        </p:nvSpPr>
        <p:spPr>
          <a:xfrm>
            <a:off x="0" y="231775"/>
            <a:ext cx="12192000" cy="73025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IN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29D2CD4-7C70-9B7C-F6A3-22DD1BF39A6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6213" y="349250"/>
            <a:ext cx="9825037" cy="52228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txBody>
          <a:bodyPr anchor="b"/>
          <a:lstStyle>
            <a:lvl1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marL="406400" indent="-406400" eaLnBrk="1" hangingPunct="1">
              <a:lnSpc>
                <a:spcPct val="150000"/>
              </a:lnSpc>
              <a:defRPr/>
            </a:pPr>
            <a:endParaRPr lang="en-IN" altLang="en-US" sz="4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06400" indent="-406400" eaLnBrk="1" hangingPunct="1">
              <a:lnSpc>
                <a:spcPct val="150000"/>
              </a:lnSpc>
              <a:defRPr/>
            </a:pPr>
            <a:r>
              <a:rPr lang="en-IN" altLang="en-US" sz="4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sults &amp; Discussion</a:t>
            </a:r>
            <a:r>
              <a:rPr lang="en-IN" altLang="en-US" sz="4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IN" altLang="en-US" sz="2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CA30AE5-5F13-C5F8-A1C2-25FA0472F2B7}"/>
              </a:ext>
            </a:extLst>
          </p:cNvPr>
          <p:cNvSpPr/>
          <p:nvPr/>
        </p:nvSpPr>
        <p:spPr>
          <a:xfrm>
            <a:off x="10001250" y="349250"/>
            <a:ext cx="2014538" cy="522288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RAL_ID_</a:t>
            </a:r>
          </a:p>
        </p:txBody>
      </p:sp>
      <p:sp>
        <p:nvSpPr>
          <p:cNvPr id="17" name="Footer Placeholder 1">
            <a:extLst>
              <a:ext uri="{FF2B5EF4-FFF2-40B4-BE49-F238E27FC236}">
                <a16:creationId xmlns:a16="http://schemas.microsoft.com/office/drawing/2014/main" id="{C8268C65-FE2B-32C4-5EA4-929EFCB57E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92859" y="6508750"/>
            <a:ext cx="7008391" cy="365125"/>
          </a:xfrm>
        </p:spPr>
        <p:txBody>
          <a:bodyPr/>
          <a:lstStyle/>
          <a:p>
            <a:pPr>
              <a:defRPr/>
            </a:pPr>
            <a:r>
              <a:rPr lang="en-IN" dirty="0"/>
              <a:t>JSS TDM 1.0 2026, JSS College of Pharmacy, &amp; JSS Medical </a:t>
            </a:r>
            <a:r>
              <a:rPr lang="en-US" dirty="0"/>
              <a:t>College</a:t>
            </a:r>
            <a:r>
              <a:rPr lang="en-IN" dirty="0"/>
              <a:t> Mysuru, JSSAHER, Karnataka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ED2B78-FFC4-FABF-5AFA-B896C5717A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29650" y="6489700"/>
            <a:ext cx="2743200" cy="365125"/>
          </a:xfrm>
        </p:spPr>
        <p:txBody>
          <a:bodyPr/>
          <a:lstStyle/>
          <a:p>
            <a:pPr>
              <a:defRPr/>
            </a:pPr>
            <a:fld id="{FA857EF4-2BC7-4B93-8E25-CA6E35858ACC}" type="slidenum">
              <a:rPr lang="en-IN" smtClean="0"/>
              <a:pPr>
                <a:defRPr/>
              </a:pPr>
              <a:t>6</a:t>
            </a:fld>
            <a:endParaRPr lang="en-IN"/>
          </a:p>
        </p:txBody>
      </p:sp>
    </p:spTree>
  </p:cSld>
  <p:clrMapOvr>
    <a:masterClrMapping/>
  </p:clrMapOvr>
  <p:transition spd="slow">
    <p:split orient="vert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508E72-13F8-12E0-4F92-7BDEEE058A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ct 11" hidden="1">
            <a:extLst>
              <a:ext uri="{FF2B5EF4-FFF2-40B4-BE49-F238E27FC236}">
                <a16:creationId xmlns:a16="http://schemas.microsoft.com/office/drawing/2014/main" id="{FDADBC6F-12C0-E93D-040F-7B164BF001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7170" name="Object 11" hidden="1">
                        <a:extLst>
                          <a:ext uri="{FF2B5EF4-FFF2-40B4-BE49-F238E27FC236}">
                            <a16:creationId xmlns:a16="http://schemas.microsoft.com/office/drawing/2014/main" id="{33C4A105-FF68-610D-19D4-32FB310F93D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058E8317-7441-4272-AFD8-84181EC7D08A}"/>
              </a:ext>
            </a:extLst>
          </p:cNvPr>
          <p:cNvSpPr/>
          <p:nvPr/>
        </p:nvSpPr>
        <p:spPr>
          <a:xfrm>
            <a:off x="0" y="7938"/>
            <a:ext cx="12192000" cy="192087"/>
          </a:xfrm>
          <a:prstGeom prst="rect">
            <a:avLst/>
          </a:prstGeom>
          <a:solidFill>
            <a:srgbClr val="024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E210011-D7EC-DD91-3D8C-1623C3678F34}"/>
              </a:ext>
            </a:extLst>
          </p:cNvPr>
          <p:cNvSpPr/>
          <p:nvPr/>
        </p:nvSpPr>
        <p:spPr>
          <a:xfrm>
            <a:off x="0" y="-4763"/>
            <a:ext cx="12192000" cy="152401"/>
          </a:xfrm>
          <a:prstGeom prst="rect">
            <a:avLst/>
          </a:prstGeom>
          <a:solidFill>
            <a:srgbClr val="E35F1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grpSp>
        <p:nvGrpSpPr>
          <p:cNvPr id="7173" name="Group 10">
            <a:extLst>
              <a:ext uri="{FF2B5EF4-FFF2-40B4-BE49-F238E27FC236}">
                <a16:creationId xmlns:a16="http://schemas.microsoft.com/office/drawing/2014/main" id="{6CAE8359-DD3E-43C8-4DCE-8AD24B22939E}"/>
              </a:ext>
            </a:extLst>
          </p:cNvPr>
          <p:cNvGrpSpPr>
            <a:grpSpLocks/>
          </p:cNvGrpSpPr>
          <p:nvPr/>
        </p:nvGrpSpPr>
        <p:grpSpPr bwMode="auto">
          <a:xfrm>
            <a:off x="0" y="6783388"/>
            <a:ext cx="12192000" cy="92075"/>
            <a:chOff x="1" y="6096362"/>
            <a:chExt cx="9224209" cy="191046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4A6B117-005D-0CA1-CCB3-272940CDCB06}"/>
                </a:ext>
              </a:extLst>
            </p:cNvPr>
            <p:cNvSpPr/>
            <p:nvPr/>
          </p:nvSpPr>
          <p:spPr>
            <a:xfrm>
              <a:off x="3417042" y="6096362"/>
              <a:ext cx="2902983" cy="191046"/>
            </a:xfrm>
            <a:prstGeom prst="rect">
              <a:avLst/>
            </a:prstGeom>
            <a:solidFill>
              <a:srgbClr val="E35F1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C4140D6-01F6-E650-F317-8F3965B1FD7D}"/>
                </a:ext>
              </a:extLst>
            </p:cNvPr>
            <p:cNvSpPr/>
            <p:nvPr/>
          </p:nvSpPr>
          <p:spPr>
            <a:xfrm>
              <a:off x="6320025" y="6096362"/>
              <a:ext cx="2904185" cy="191046"/>
            </a:xfrm>
            <a:prstGeom prst="rect">
              <a:avLst/>
            </a:prstGeom>
            <a:solidFill>
              <a:srgbClr val="FC9B0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78598892-84A2-560E-1ACB-7870930FC517}"/>
                </a:ext>
              </a:extLst>
            </p:cNvPr>
            <p:cNvSpPr/>
            <p:nvPr/>
          </p:nvSpPr>
          <p:spPr>
            <a:xfrm>
              <a:off x="1" y="6096362"/>
              <a:ext cx="3417041" cy="191046"/>
            </a:xfrm>
            <a:prstGeom prst="rect">
              <a:avLst/>
            </a:prstGeom>
            <a:solidFill>
              <a:srgbClr val="0244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4EFAB3E8-ECC4-39E1-77F9-76A3A6D84F59}"/>
              </a:ext>
            </a:extLst>
          </p:cNvPr>
          <p:cNvSpPr/>
          <p:nvPr/>
        </p:nvSpPr>
        <p:spPr>
          <a:xfrm>
            <a:off x="0" y="231775"/>
            <a:ext cx="12192000" cy="73025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IN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F6D76D02-7B7E-9EB4-62E2-14C09F36D0B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6213" y="349250"/>
            <a:ext cx="9825037" cy="52228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txBody>
          <a:bodyPr anchor="b"/>
          <a:lstStyle>
            <a:lvl1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marL="406400" indent="-406400" eaLnBrk="1" hangingPunct="1">
              <a:lnSpc>
                <a:spcPct val="150000"/>
              </a:lnSpc>
              <a:defRPr/>
            </a:pPr>
            <a:endParaRPr lang="en-IN" altLang="en-US" sz="4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06400" indent="-406400" eaLnBrk="1" hangingPunct="1">
              <a:lnSpc>
                <a:spcPct val="150000"/>
              </a:lnSpc>
              <a:defRPr/>
            </a:pPr>
            <a:r>
              <a:rPr lang="en-IN" altLang="en-US" sz="4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sults &amp; Discussion</a:t>
            </a:r>
            <a:r>
              <a:rPr lang="en-IN" altLang="en-US" sz="4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IN" altLang="en-US" sz="2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6A2B6DA-5EA0-FF76-7118-14F0F1B617E7}"/>
              </a:ext>
            </a:extLst>
          </p:cNvPr>
          <p:cNvSpPr/>
          <p:nvPr/>
        </p:nvSpPr>
        <p:spPr>
          <a:xfrm>
            <a:off x="10001250" y="349250"/>
            <a:ext cx="2014538" cy="522288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RAL_ID_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286BA89D-7AA5-9944-32FA-BC936A87C2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92859" y="6508750"/>
            <a:ext cx="7008391" cy="365125"/>
          </a:xfrm>
        </p:spPr>
        <p:txBody>
          <a:bodyPr/>
          <a:lstStyle/>
          <a:p>
            <a:pPr>
              <a:defRPr/>
            </a:pPr>
            <a:r>
              <a:rPr lang="en-IN" dirty="0"/>
              <a:t>JSS TDM 1.0 2026, JSS College of Pharmacy, &amp; JSS Medical </a:t>
            </a:r>
            <a:r>
              <a:rPr lang="en-US" dirty="0"/>
              <a:t>College</a:t>
            </a:r>
            <a:r>
              <a:rPr lang="en-IN" dirty="0"/>
              <a:t> Mysuru, JSSAHER, Karnataka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162200E-FC51-3E92-292E-F6D25A404A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29650" y="6489700"/>
            <a:ext cx="2743200" cy="365125"/>
          </a:xfrm>
        </p:spPr>
        <p:txBody>
          <a:bodyPr/>
          <a:lstStyle/>
          <a:p>
            <a:pPr>
              <a:defRPr/>
            </a:pPr>
            <a:fld id="{FA857EF4-2BC7-4B93-8E25-CA6E35858ACC}" type="slidenum">
              <a:rPr lang="en-IN" smtClean="0"/>
              <a:pPr>
                <a:defRPr/>
              </a:pPr>
              <a:t>7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64604068"/>
      </p:ext>
    </p:extLst>
  </p:cSld>
  <p:clrMapOvr>
    <a:masterClrMapping/>
  </p:clrMapOvr>
  <p:transition spd="slow">
    <p:split orient="vert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66" name="Object 11" hidden="1">
            <a:extLst>
              <a:ext uri="{FF2B5EF4-FFF2-40B4-BE49-F238E27FC236}">
                <a16:creationId xmlns:a16="http://schemas.microsoft.com/office/drawing/2014/main" id="{087A5A6B-DF0D-916A-5CE9-D52EF3550F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11266" name="Object 11" hidden="1">
                        <a:extLst>
                          <a:ext uri="{FF2B5EF4-FFF2-40B4-BE49-F238E27FC236}">
                            <a16:creationId xmlns:a16="http://schemas.microsoft.com/office/drawing/2014/main" id="{087A5A6B-DF0D-916A-5CE9-D52EF3550F7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2162F85B-FBC7-048E-1C90-B67CB08CD544}"/>
              </a:ext>
            </a:extLst>
          </p:cNvPr>
          <p:cNvSpPr/>
          <p:nvPr/>
        </p:nvSpPr>
        <p:spPr>
          <a:xfrm>
            <a:off x="0" y="7938"/>
            <a:ext cx="12192000" cy="192087"/>
          </a:xfrm>
          <a:prstGeom prst="rect">
            <a:avLst/>
          </a:prstGeom>
          <a:solidFill>
            <a:srgbClr val="024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80B6508-A9D2-0DEF-F764-7B2ED2E4F7D2}"/>
              </a:ext>
            </a:extLst>
          </p:cNvPr>
          <p:cNvSpPr/>
          <p:nvPr/>
        </p:nvSpPr>
        <p:spPr>
          <a:xfrm>
            <a:off x="0" y="-4763"/>
            <a:ext cx="12192000" cy="152401"/>
          </a:xfrm>
          <a:prstGeom prst="rect">
            <a:avLst/>
          </a:prstGeom>
          <a:solidFill>
            <a:srgbClr val="E35F1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grpSp>
        <p:nvGrpSpPr>
          <p:cNvPr id="11269" name="Group 10">
            <a:extLst>
              <a:ext uri="{FF2B5EF4-FFF2-40B4-BE49-F238E27FC236}">
                <a16:creationId xmlns:a16="http://schemas.microsoft.com/office/drawing/2014/main" id="{F670FECB-539D-D89E-0F49-BE9D971A9754}"/>
              </a:ext>
            </a:extLst>
          </p:cNvPr>
          <p:cNvGrpSpPr>
            <a:grpSpLocks/>
          </p:cNvGrpSpPr>
          <p:nvPr/>
        </p:nvGrpSpPr>
        <p:grpSpPr bwMode="auto">
          <a:xfrm>
            <a:off x="0" y="6783388"/>
            <a:ext cx="12192000" cy="92075"/>
            <a:chOff x="1" y="6096362"/>
            <a:chExt cx="9224209" cy="191046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0E373AE-13CD-F0A9-5232-235BF96C90EA}"/>
                </a:ext>
              </a:extLst>
            </p:cNvPr>
            <p:cNvSpPr/>
            <p:nvPr/>
          </p:nvSpPr>
          <p:spPr>
            <a:xfrm>
              <a:off x="3417042" y="6096362"/>
              <a:ext cx="2902983" cy="191046"/>
            </a:xfrm>
            <a:prstGeom prst="rect">
              <a:avLst/>
            </a:prstGeom>
            <a:solidFill>
              <a:srgbClr val="E35F1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22B062B6-5CC0-85EB-DF93-AE43FD29B5B7}"/>
                </a:ext>
              </a:extLst>
            </p:cNvPr>
            <p:cNvSpPr/>
            <p:nvPr/>
          </p:nvSpPr>
          <p:spPr>
            <a:xfrm>
              <a:off x="6320025" y="6096362"/>
              <a:ext cx="2904185" cy="191046"/>
            </a:xfrm>
            <a:prstGeom prst="rect">
              <a:avLst/>
            </a:prstGeom>
            <a:solidFill>
              <a:srgbClr val="FC9B0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5AF7C8C-7AF5-B159-EF38-F1C0E0FE96DD}"/>
                </a:ext>
              </a:extLst>
            </p:cNvPr>
            <p:cNvSpPr/>
            <p:nvPr/>
          </p:nvSpPr>
          <p:spPr>
            <a:xfrm>
              <a:off x="1" y="6096362"/>
              <a:ext cx="3417041" cy="191046"/>
            </a:xfrm>
            <a:prstGeom prst="rect">
              <a:avLst/>
            </a:prstGeom>
            <a:solidFill>
              <a:srgbClr val="0244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A206F9D0-CFA9-0266-61DC-C36BCB1FD7DC}"/>
              </a:ext>
            </a:extLst>
          </p:cNvPr>
          <p:cNvSpPr/>
          <p:nvPr/>
        </p:nvSpPr>
        <p:spPr>
          <a:xfrm>
            <a:off x="0" y="231775"/>
            <a:ext cx="12192000" cy="73025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IN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CCCCB33A-8E03-E2C9-BB56-5FB6570F008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6213" y="339725"/>
            <a:ext cx="9825037" cy="52228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txBody>
          <a:bodyPr anchor="b"/>
          <a:lstStyle>
            <a:lvl1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marL="406400" indent="-406400" eaLnBrk="1" hangingPunct="1">
              <a:lnSpc>
                <a:spcPct val="150000"/>
              </a:lnSpc>
              <a:defRPr/>
            </a:pPr>
            <a:r>
              <a:rPr lang="en-IN" altLang="en-US" sz="4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ummary &amp; Conclusion </a:t>
            </a:r>
            <a:r>
              <a:rPr lang="en-IN" altLang="en-US" sz="4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IN" altLang="en-US" sz="2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40F0F5C-E367-711A-2B72-88CC3DA13BFB}"/>
              </a:ext>
            </a:extLst>
          </p:cNvPr>
          <p:cNvSpPr/>
          <p:nvPr/>
        </p:nvSpPr>
        <p:spPr>
          <a:xfrm>
            <a:off x="10001250" y="349250"/>
            <a:ext cx="2014538" cy="522288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RAL_ID_</a:t>
            </a:r>
          </a:p>
        </p:txBody>
      </p:sp>
      <p:sp>
        <p:nvSpPr>
          <p:cNvPr id="12" name="Footer Placeholder 1">
            <a:extLst>
              <a:ext uri="{FF2B5EF4-FFF2-40B4-BE49-F238E27FC236}">
                <a16:creationId xmlns:a16="http://schemas.microsoft.com/office/drawing/2014/main" id="{1B0D3B5A-9E1D-00BB-EF36-D8C2907455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92859" y="6508750"/>
            <a:ext cx="7008391" cy="365125"/>
          </a:xfrm>
        </p:spPr>
        <p:txBody>
          <a:bodyPr/>
          <a:lstStyle/>
          <a:p>
            <a:pPr>
              <a:defRPr/>
            </a:pPr>
            <a:r>
              <a:rPr lang="en-IN" dirty="0"/>
              <a:t>JSS TDM 1.0 2026, JSS College of Pharmacy, &amp; JSS Medical </a:t>
            </a:r>
            <a:r>
              <a:rPr lang="en-US" dirty="0"/>
              <a:t>College</a:t>
            </a:r>
            <a:r>
              <a:rPr lang="en-IN" dirty="0"/>
              <a:t> Mysuru, JSSAHER, Karnataka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F7A0D67-EEEA-31F7-220A-2E105B7E67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3507833-EBF7-409D-8809-493B3E12E7C6}" type="slidenum">
              <a:rPr lang="en-IN" smtClean="0"/>
              <a:pPr>
                <a:defRPr/>
              </a:pPr>
              <a:t>8</a:t>
            </a:fld>
            <a:endParaRPr lang="en-IN"/>
          </a:p>
        </p:txBody>
      </p:sp>
    </p:spTree>
  </p:cSld>
  <p:clrMapOvr>
    <a:masterClrMapping/>
  </p:clrMapOvr>
  <p:transition spd="slow">
    <p:split orient="vert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Object 11" hidden="1">
            <a:extLst>
              <a:ext uri="{FF2B5EF4-FFF2-40B4-BE49-F238E27FC236}">
                <a16:creationId xmlns:a16="http://schemas.microsoft.com/office/drawing/2014/main" id="{B367A5A4-60A0-3C49-DA13-C09480447C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12290" name="Object 11" hidden="1">
                        <a:extLst>
                          <a:ext uri="{FF2B5EF4-FFF2-40B4-BE49-F238E27FC236}">
                            <a16:creationId xmlns:a16="http://schemas.microsoft.com/office/drawing/2014/main" id="{B367A5A4-60A0-3C49-DA13-C09480447C6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D9661306-CC2D-A8B5-8DAA-DD5A6719E142}"/>
              </a:ext>
            </a:extLst>
          </p:cNvPr>
          <p:cNvSpPr/>
          <p:nvPr/>
        </p:nvSpPr>
        <p:spPr>
          <a:xfrm>
            <a:off x="0" y="7938"/>
            <a:ext cx="12192000" cy="192087"/>
          </a:xfrm>
          <a:prstGeom prst="rect">
            <a:avLst/>
          </a:prstGeom>
          <a:solidFill>
            <a:srgbClr val="024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82BB684-74CD-B350-BCD7-F5C20EDEDC32}"/>
              </a:ext>
            </a:extLst>
          </p:cNvPr>
          <p:cNvSpPr/>
          <p:nvPr/>
        </p:nvSpPr>
        <p:spPr>
          <a:xfrm>
            <a:off x="0" y="-4763"/>
            <a:ext cx="12192000" cy="152401"/>
          </a:xfrm>
          <a:prstGeom prst="rect">
            <a:avLst/>
          </a:prstGeom>
          <a:solidFill>
            <a:srgbClr val="E35F1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grpSp>
        <p:nvGrpSpPr>
          <p:cNvPr id="12293" name="Group 10">
            <a:extLst>
              <a:ext uri="{FF2B5EF4-FFF2-40B4-BE49-F238E27FC236}">
                <a16:creationId xmlns:a16="http://schemas.microsoft.com/office/drawing/2014/main" id="{788C71C9-2FD8-CF01-FDED-0405410AB334}"/>
              </a:ext>
            </a:extLst>
          </p:cNvPr>
          <p:cNvGrpSpPr>
            <a:grpSpLocks/>
          </p:cNvGrpSpPr>
          <p:nvPr/>
        </p:nvGrpSpPr>
        <p:grpSpPr bwMode="auto">
          <a:xfrm>
            <a:off x="0" y="6783388"/>
            <a:ext cx="12192000" cy="92075"/>
            <a:chOff x="1" y="6096362"/>
            <a:chExt cx="9224209" cy="191046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543FB466-29AF-4409-6DE4-88E074EABD6E}"/>
                </a:ext>
              </a:extLst>
            </p:cNvPr>
            <p:cNvSpPr/>
            <p:nvPr/>
          </p:nvSpPr>
          <p:spPr>
            <a:xfrm>
              <a:off x="3417042" y="6096362"/>
              <a:ext cx="2902983" cy="191046"/>
            </a:xfrm>
            <a:prstGeom prst="rect">
              <a:avLst/>
            </a:prstGeom>
            <a:solidFill>
              <a:srgbClr val="E35F1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90B2165-1C36-7542-FAB8-4883A6482CDA}"/>
                </a:ext>
              </a:extLst>
            </p:cNvPr>
            <p:cNvSpPr/>
            <p:nvPr/>
          </p:nvSpPr>
          <p:spPr>
            <a:xfrm>
              <a:off x="6320025" y="6096362"/>
              <a:ext cx="2904185" cy="191046"/>
            </a:xfrm>
            <a:prstGeom prst="rect">
              <a:avLst/>
            </a:prstGeom>
            <a:solidFill>
              <a:srgbClr val="FC9B0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B88DBD3-D1E2-C864-3A68-AB2724793F6D}"/>
                </a:ext>
              </a:extLst>
            </p:cNvPr>
            <p:cNvSpPr/>
            <p:nvPr/>
          </p:nvSpPr>
          <p:spPr>
            <a:xfrm>
              <a:off x="1" y="6096362"/>
              <a:ext cx="3417041" cy="191046"/>
            </a:xfrm>
            <a:prstGeom prst="rect">
              <a:avLst/>
            </a:prstGeom>
            <a:solidFill>
              <a:srgbClr val="0244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EC7C3AB2-8B25-5B9F-A505-D429144F6F6C}"/>
              </a:ext>
            </a:extLst>
          </p:cNvPr>
          <p:cNvSpPr/>
          <p:nvPr/>
        </p:nvSpPr>
        <p:spPr>
          <a:xfrm>
            <a:off x="0" y="231775"/>
            <a:ext cx="12192000" cy="73025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IN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0AACC9C-026B-FD27-C9E2-6668673F3EA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6213" y="349250"/>
            <a:ext cx="9825037" cy="52228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txBody>
          <a:bodyPr anchor="b"/>
          <a:lstStyle>
            <a:lvl1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marL="406400" indent="-406400" eaLnBrk="1" hangingPunct="1">
              <a:lnSpc>
                <a:spcPct val="150000"/>
              </a:lnSpc>
              <a:defRPr/>
            </a:pPr>
            <a:r>
              <a:rPr lang="en-IN" altLang="en-US" sz="4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Acknowledgement &amp; References </a:t>
            </a:r>
            <a:r>
              <a:rPr lang="en-IN" altLang="en-US" sz="4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IN" altLang="en-US" sz="2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63B913E-66F2-9366-BF2B-F122A3BE2A20}"/>
              </a:ext>
            </a:extLst>
          </p:cNvPr>
          <p:cNvSpPr/>
          <p:nvPr/>
        </p:nvSpPr>
        <p:spPr>
          <a:xfrm>
            <a:off x="10001250" y="349250"/>
            <a:ext cx="2014538" cy="522288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RAL_ID_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3886E7C-71F8-DDDE-F630-CAFEEA0FD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92859" y="6508750"/>
            <a:ext cx="7008391" cy="365125"/>
          </a:xfrm>
        </p:spPr>
        <p:txBody>
          <a:bodyPr/>
          <a:lstStyle/>
          <a:p>
            <a:pPr>
              <a:defRPr/>
            </a:pPr>
            <a:r>
              <a:rPr lang="en-IN" dirty="0"/>
              <a:t>JSS TDM 1.0 2026, JSS College of Pharmacy, &amp; JSS Medical </a:t>
            </a:r>
            <a:r>
              <a:rPr lang="en-US" dirty="0"/>
              <a:t>College</a:t>
            </a:r>
            <a:r>
              <a:rPr lang="en-IN" dirty="0"/>
              <a:t> Mysuru, JSSAHER, Karnataka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4602FE9-D21C-B846-5868-B3C319501A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12ECC0D-A7DD-4F4D-8195-39218605639E}" type="slidenum">
              <a:rPr lang="en-IN" smtClean="0"/>
              <a:pPr>
                <a:defRPr/>
              </a:pPr>
              <a:t>9</a:t>
            </a:fld>
            <a:endParaRPr lang="en-IN"/>
          </a:p>
        </p:txBody>
      </p:sp>
    </p:spTree>
  </p:cSld>
  <p:clrMapOvr>
    <a:masterClrMapping/>
  </p:clrMapOvr>
  <p:transition spd="slow">
    <p:split orient="vert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08</TotalTime>
  <Words>271</Words>
  <Application>Microsoft Office PowerPoint</Application>
  <PresentationFormat>Widescreen</PresentationFormat>
  <Paragraphs>47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8" baseType="lpstr">
      <vt:lpstr>Yu Gothic</vt:lpstr>
      <vt:lpstr>Aptos</vt:lpstr>
      <vt:lpstr>Aptos Display</vt:lpstr>
      <vt:lpstr>Arial</vt:lpstr>
      <vt:lpstr>Calibri</vt:lpstr>
      <vt:lpstr>Times New Roman</vt:lpstr>
      <vt:lpstr>Office Theme</vt:lpstr>
      <vt:lpstr>think-cell Slide</vt:lpstr>
      <vt:lpstr>PowerPoint Presentation</vt:lpstr>
      <vt:lpstr>  Introduction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r Prashanth</dc:creator>
  <cp:lastModifiedBy>Aparna Inamdar</cp:lastModifiedBy>
  <cp:revision>126</cp:revision>
  <dcterms:created xsi:type="dcterms:W3CDTF">2020-06-08T09:34:26Z</dcterms:created>
  <dcterms:modified xsi:type="dcterms:W3CDTF">2026-03-05T08:56:20Z</dcterms:modified>
</cp:coreProperties>
</file>